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4848" r:id="rId6"/>
    <p:sldId id="2147375614" r:id="rId7"/>
    <p:sldId id="2147375620" r:id="rId8"/>
    <p:sldId id="2147375615" r:id="rId9"/>
    <p:sldId id="2147375617" r:id="rId10"/>
    <p:sldId id="2147375622" r:id="rId11"/>
    <p:sldId id="2147375616" r:id="rId12"/>
    <p:sldId id="2147375618" r:id="rId13"/>
    <p:sldId id="2147375619" r:id="rId14"/>
    <p:sldId id="2147375611" r:id="rId15"/>
    <p:sldId id="1633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CFDB71-B474-4F23-B71C-DA6680F3F07F}" v="47" dt="2024-09-04T06:12:52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3447" autoAdjust="0"/>
  </p:normalViewPr>
  <p:slideViewPr>
    <p:cSldViewPr snapToGrid="0">
      <p:cViewPr varScale="1">
        <p:scale>
          <a:sx n="79" d="100"/>
          <a:sy n="79" d="100"/>
        </p:scale>
        <p:origin x="610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  <pc:docChgLst>
    <pc:chgData name="Hitesh, Hitesh SBOBNG-PTIY/AEC" userId="4b40d14c-6959-4a04-b09b-037994df9ab1" providerId="ADAL" clId="{72CFDB71-B474-4F23-B71C-DA6680F3F07F}"/>
    <pc:docChg chg="undo custSel addSld delSld modSld sldOrd">
      <pc:chgData name="Hitesh, Hitesh SBOBNG-PTIY/AEC" userId="4b40d14c-6959-4a04-b09b-037994df9ab1" providerId="ADAL" clId="{72CFDB71-B474-4F23-B71C-DA6680F3F07F}" dt="2024-09-05T03:47:56.740" v="6262" actId="47"/>
      <pc:docMkLst>
        <pc:docMk/>
      </pc:docMkLst>
      <pc:sldChg chg="modSp mod">
        <pc:chgData name="Hitesh, Hitesh SBOBNG-PTIY/AEC" userId="4b40d14c-6959-4a04-b09b-037994df9ab1" providerId="ADAL" clId="{72CFDB71-B474-4F23-B71C-DA6680F3F07F}" dt="2024-09-04T03:29:43.038" v="385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72CFDB71-B474-4F23-B71C-DA6680F3F07F}" dt="2024-09-04T03:29:08.813" v="3856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Hitesh, Hitesh SBOBNG-PTIY/AEC" userId="4b40d14c-6959-4a04-b09b-037994df9ab1" providerId="ADAL" clId="{72CFDB71-B474-4F23-B71C-DA6680F3F07F}" dt="2024-09-04T03:29:43.038" v="3857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modSp mod">
        <pc:chgData name="Hitesh, Hitesh SBOBNG-PTIY/AEC" userId="4b40d14c-6959-4a04-b09b-037994df9ab1" providerId="ADAL" clId="{72CFDB71-B474-4F23-B71C-DA6680F3F07F}" dt="2024-09-04T08:10:55.191" v="6260" actId="20577"/>
        <pc:sldMkLst>
          <pc:docMk/>
          <pc:sldMk cId="245881457" sldId="2147375597"/>
        </pc:sldMkLst>
        <pc:spChg chg="mod">
          <ac:chgData name="Hitesh, Hitesh SBOBNG-PTIY/AEC" userId="4b40d14c-6959-4a04-b09b-037994df9ab1" providerId="ADAL" clId="{72CFDB71-B474-4F23-B71C-DA6680F3F07F}" dt="2024-09-04T08:10:55.191" v="6260" actId="20577"/>
          <ac:spMkLst>
            <pc:docMk/>
            <pc:sldMk cId="245881457" sldId="2147375597"/>
            <ac:spMk id="2" creationId="{62AEE4DC-6FE4-5FAA-3BF0-9E51B9541760}"/>
          </ac:spMkLst>
        </pc:spChg>
        <pc:spChg chg="add mod">
          <ac:chgData name="Hitesh, Hitesh SBOBNG-PTIY/AEC" userId="4b40d14c-6959-4a04-b09b-037994df9ab1" providerId="ADAL" clId="{72CFDB71-B474-4F23-B71C-DA6680F3F07F}" dt="2024-09-04T03:58:10.206" v="4083" actId="571"/>
          <ac:spMkLst>
            <pc:docMk/>
            <pc:sldMk cId="245881457" sldId="2147375597"/>
            <ac:spMk id="5" creationId="{27F3DA86-14D2-30D8-BDC4-6777770E1743}"/>
          </ac:spMkLst>
        </pc:spChg>
        <pc:spChg chg="add mod">
          <ac:chgData name="Hitesh, Hitesh SBOBNG-PTIY/AEC" userId="4b40d14c-6959-4a04-b09b-037994df9ab1" providerId="ADAL" clId="{72CFDB71-B474-4F23-B71C-DA6680F3F07F}" dt="2024-09-04T05:20:43.693" v="4463" actId="1076"/>
          <ac:spMkLst>
            <pc:docMk/>
            <pc:sldMk cId="245881457" sldId="2147375597"/>
            <ac:spMk id="5" creationId="{57816196-028E-2AD7-B7E9-D3726E9832A2}"/>
          </ac:spMkLst>
        </pc:spChg>
        <pc:spChg chg="add mod">
          <ac:chgData name="Hitesh, Hitesh SBOBNG-PTIY/AEC" userId="4b40d14c-6959-4a04-b09b-037994df9ab1" providerId="ADAL" clId="{72CFDB71-B474-4F23-B71C-DA6680F3F07F}" dt="2024-09-04T05:48:49.865" v="4813"/>
          <ac:spMkLst>
            <pc:docMk/>
            <pc:sldMk cId="245881457" sldId="2147375597"/>
            <ac:spMk id="6" creationId="{AF1DEF1E-47CD-F7EA-05EA-B343CFE2C4BE}"/>
          </ac:spMkLst>
        </pc:spChg>
      </pc:sldChg>
      <pc:sldChg chg="addSp modSp del mod">
        <pc:chgData name="Hitesh, Hitesh SBOBNG-PTIY/AEC" userId="4b40d14c-6959-4a04-b09b-037994df9ab1" providerId="ADAL" clId="{72CFDB71-B474-4F23-B71C-DA6680F3F07F}" dt="2024-09-04T05:23:57.625" v="4648" actId="47"/>
        <pc:sldMkLst>
          <pc:docMk/>
          <pc:sldMk cId="1181112711" sldId="2147375600"/>
        </pc:sldMkLst>
        <pc:spChg chg="mod">
          <ac:chgData name="Hitesh, Hitesh SBOBNG-PTIY/AEC" userId="4b40d14c-6959-4a04-b09b-037994df9ab1" providerId="ADAL" clId="{72CFDB71-B474-4F23-B71C-DA6680F3F07F}" dt="2024-09-03T08:55:10.199" v="2916" actId="5793"/>
          <ac:spMkLst>
            <pc:docMk/>
            <pc:sldMk cId="1181112711" sldId="2147375600"/>
            <ac:spMk id="11" creationId="{DE9F1BE0-7910-FA1B-DCE8-56EFD1E4FC09}"/>
          </ac:spMkLst>
        </pc:spChg>
        <pc:graphicFrameChg chg="add mod modGraphic">
          <ac:chgData name="Hitesh, Hitesh SBOBNG-PTIY/AEC" userId="4b40d14c-6959-4a04-b09b-037994df9ab1" providerId="ADAL" clId="{72CFDB71-B474-4F23-B71C-DA6680F3F07F}" dt="2024-09-04T05:22:20.224" v="4519" actId="21"/>
          <ac:graphicFrameMkLst>
            <pc:docMk/>
            <pc:sldMk cId="1181112711" sldId="2147375600"/>
            <ac:graphicFrameMk id="2" creationId="{3630BAC8-2EB3-8429-AECF-16CF485EBC02}"/>
          </ac:graphicFrameMkLst>
        </pc:graphicFrameChg>
      </pc:sldChg>
      <pc:sldChg chg="new del">
        <pc:chgData name="Hitesh, Hitesh SBOBNG-PTIY/AEC" userId="4b40d14c-6959-4a04-b09b-037994df9ab1" providerId="ADAL" clId="{72CFDB71-B474-4F23-B71C-DA6680F3F07F}" dt="2024-09-03T05:46:34.855" v="789" actId="47"/>
        <pc:sldMkLst>
          <pc:docMk/>
          <pc:sldMk cId="1996218311" sldId="2147375601"/>
        </pc:sldMkLst>
      </pc:sldChg>
      <pc:sldChg chg="addSp delSp 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247023300" sldId="2147375602"/>
        </pc:sldMkLst>
        <pc:spChg chg="mod">
          <ac:chgData name="Hitesh, Hitesh SBOBNG-PTIY/AEC" userId="4b40d14c-6959-4a04-b09b-037994df9ab1" providerId="ADAL" clId="{72CFDB71-B474-4F23-B71C-DA6680F3F07F}" dt="2024-09-03T05:46:41.235" v="793" actId="20577"/>
          <ac:spMkLst>
            <pc:docMk/>
            <pc:sldMk cId="247023300" sldId="2147375602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4T05:24:50.704" v="4654" actId="21"/>
          <ac:spMkLst>
            <pc:docMk/>
            <pc:sldMk cId="247023300" sldId="2147375602"/>
            <ac:spMk id="11" creationId="{DE9F1BE0-7910-FA1B-DCE8-56EFD1E4FC09}"/>
          </ac:spMkLst>
        </pc:spChg>
        <pc:graphicFrameChg chg="add del mod modGraphic">
          <ac:chgData name="Hitesh, Hitesh SBOBNG-PTIY/AEC" userId="4b40d14c-6959-4a04-b09b-037994df9ab1" providerId="ADAL" clId="{72CFDB71-B474-4F23-B71C-DA6680F3F07F}" dt="2024-09-04T05:21:41.098" v="4474" actId="478"/>
          <ac:graphicFrameMkLst>
            <pc:docMk/>
            <pc:sldMk cId="247023300" sldId="2147375602"/>
            <ac:graphicFrameMk id="2" creationId="{D4923250-4296-8C72-4D24-DAD333F64A19}"/>
          </ac:graphicFrameMkLst>
        </pc:graphicFrameChg>
      </pc:sldChg>
      <pc:sldChg chg="addSp 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27729771" sldId="2147375603"/>
        </pc:sldMkLst>
        <pc:spChg chg="mod">
          <ac:chgData name="Hitesh, Hitesh SBOBNG-PTIY/AEC" userId="4b40d14c-6959-4a04-b09b-037994df9ab1" providerId="ADAL" clId="{72CFDB71-B474-4F23-B71C-DA6680F3F07F}" dt="2024-09-03T08:53:34.012" v="2910" actId="20577"/>
          <ac:spMkLst>
            <pc:docMk/>
            <pc:sldMk cId="27729771" sldId="2147375603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3T09:06:20.775" v="3744" actId="5793"/>
          <ac:spMkLst>
            <pc:docMk/>
            <pc:sldMk cId="27729771" sldId="2147375603"/>
            <ac:spMk id="11" creationId="{DE9F1BE0-7910-FA1B-DCE8-56EFD1E4FC09}"/>
          </ac:spMkLst>
        </pc:spChg>
        <pc:graphicFrameChg chg="add mod modGraphic">
          <ac:chgData name="Hitesh, Hitesh SBOBNG-PTIY/AEC" userId="4b40d14c-6959-4a04-b09b-037994df9ab1" providerId="ADAL" clId="{72CFDB71-B474-4F23-B71C-DA6680F3F07F}" dt="2024-09-04T05:24:18.100" v="4651" actId="21"/>
          <ac:graphicFrameMkLst>
            <pc:docMk/>
            <pc:sldMk cId="27729771" sldId="2147375603"/>
            <ac:graphicFrameMk id="2" creationId="{A7B7A8D2-0BAB-B586-3FD4-4FEA9D72091F}"/>
          </ac:graphicFrameMkLst>
        </pc:graphicFrameChg>
      </pc:sldChg>
      <pc:sldChg chg="modSp add del mod">
        <pc:chgData name="Hitesh, Hitesh SBOBNG-PTIY/AEC" userId="4b40d14c-6959-4a04-b09b-037994df9ab1" providerId="ADAL" clId="{72CFDB71-B474-4F23-B71C-DA6680F3F07F}" dt="2024-09-04T05:25:00.991" v="4657" actId="47"/>
        <pc:sldMkLst>
          <pc:docMk/>
          <pc:sldMk cId="3481054148" sldId="2147375604"/>
        </pc:sldMkLst>
        <pc:spChg chg="mod">
          <ac:chgData name="Hitesh, Hitesh SBOBNG-PTIY/AEC" userId="4b40d14c-6959-4a04-b09b-037994df9ab1" providerId="ADAL" clId="{72CFDB71-B474-4F23-B71C-DA6680F3F07F}" dt="2024-09-03T08:54:55.073" v="2914" actId="20577"/>
          <ac:spMkLst>
            <pc:docMk/>
            <pc:sldMk cId="3481054148" sldId="2147375604"/>
            <ac:spMk id="3" creationId="{CEA128C4-A0BC-A895-713C-306E7FF62894}"/>
          </ac:spMkLst>
        </pc:spChg>
        <pc:spChg chg="mod">
          <ac:chgData name="Hitesh, Hitesh SBOBNG-PTIY/AEC" userId="4b40d14c-6959-4a04-b09b-037994df9ab1" providerId="ADAL" clId="{72CFDB71-B474-4F23-B71C-DA6680F3F07F}" dt="2024-09-03T05:47:22.947" v="796" actId="20577"/>
          <ac:spMkLst>
            <pc:docMk/>
            <pc:sldMk cId="3481054148" sldId="2147375604"/>
            <ac:spMk id="11" creationId="{DE9F1BE0-7910-FA1B-DCE8-56EFD1E4FC09}"/>
          </ac:spMkLst>
        </pc:spChg>
      </pc:sldChg>
      <pc:sldChg chg="addSp delSp modSp add mod ord">
        <pc:chgData name="Hitesh, Hitesh SBOBNG-PTIY/AEC" userId="4b40d14c-6959-4a04-b09b-037994df9ab1" providerId="ADAL" clId="{72CFDB71-B474-4F23-B71C-DA6680F3F07F}" dt="2024-09-04T06:13:41.250" v="6207" actId="404"/>
        <pc:sldMkLst>
          <pc:docMk/>
          <pc:sldMk cId="2425867731" sldId="2147375605"/>
        </pc:sldMkLst>
        <pc:spChg chg="mod">
          <ac:chgData name="Hitesh, Hitesh SBOBNG-PTIY/AEC" userId="4b40d14c-6959-4a04-b09b-037994df9ab1" providerId="ADAL" clId="{72CFDB71-B474-4F23-B71C-DA6680F3F07F}" dt="2024-09-04T05:52:56.496" v="4882" actId="20577"/>
          <ac:spMkLst>
            <pc:docMk/>
            <pc:sldMk cId="2425867731" sldId="2147375605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6:13:41.250" v="6207" actId="404"/>
          <ac:spMkLst>
            <pc:docMk/>
            <pc:sldMk cId="2425867731" sldId="2147375605"/>
            <ac:spMk id="6" creationId="{AF1DEF1E-47CD-F7EA-05EA-B343CFE2C4BE}"/>
          </ac:spMkLst>
        </pc:spChg>
        <pc:picChg chg="add del">
          <ac:chgData name="Hitesh, Hitesh SBOBNG-PTIY/AEC" userId="4b40d14c-6959-4a04-b09b-037994df9ab1" providerId="ADAL" clId="{72CFDB71-B474-4F23-B71C-DA6680F3F07F}" dt="2024-09-04T05:53:00.055" v="4884" actId="22"/>
          <ac:picMkLst>
            <pc:docMk/>
            <pc:sldMk cId="2425867731" sldId="2147375605"/>
            <ac:picMk id="8" creationId="{FE336247-C0C8-865E-0867-335E7EB2CE0B}"/>
          </ac:picMkLst>
        </pc:picChg>
      </pc:sldChg>
      <pc:sldChg chg="modSp add del mod">
        <pc:chgData name="Hitesh, Hitesh SBOBNG-PTIY/AEC" userId="4b40d14c-6959-4a04-b09b-037994df9ab1" providerId="ADAL" clId="{72CFDB71-B474-4F23-B71C-DA6680F3F07F}" dt="2024-09-04T05:47:55.663" v="4810" actId="47"/>
        <pc:sldMkLst>
          <pc:docMk/>
          <pc:sldMk cId="3131497173" sldId="2147375606"/>
        </pc:sldMkLst>
        <pc:spChg chg="mod">
          <ac:chgData name="Hitesh, Hitesh SBOBNG-PTIY/AEC" userId="4b40d14c-6959-4a04-b09b-037994df9ab1" providerId="ADAL" clId="{72CFDB71-B474-4F23-B71C-DA6680F3F07F}" dt="2024-09-04T05:27:29.119" v="4676" actId="21"/>
          <ac:spMkLst>
            <pc:docMk/>
            <pc:sldMk cId="3131497173" sldId="2147375606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5:27:38.605" v="4681" actId="404"/>
          <ac:spMkLst>
            <pc:docMk/>
            <pc:sldMk cId="3131497173" sldId="2147375606"/>
            <ac:spMk id="6" creationId="{AF1DEF1E-47CD-F7EA-05EA-B343CFE2C4BE}"/>
          </ac:spMkLst>
        </pc:spChg>
      </pc:sldChg>
      <pc:sldChg chg="modSp add del mod">
        <pc:chgData name="Hitesh, Hitesh SBOBNG-PTIY/AEC" userId="4b40d14c-6959-4a04-b09b-037994df9ab1" providerId="ADAL" clId="{72CFDB71-B474-4F23-B71C-DA6680F3F07F}" dt="2024-09-04T05:50:14.142" v="4839" actId="47"/>
        <pc:sldMkLst>
          <pc:docMk/>
          <pc:sldMk cId="3101336136" sldId="2147375607"/>
        </pc:sldMkLst>
        <pc:spChg chg="mod">
          <ac:chgData name="Hitesh, Hitesh SBOBNG-PTIY/AEC" userId="4b40d14c-6959-4a04-b09b-037994df9ab1" providerId="ADAL" clId="{72CFDB71-B474-4F23-B71C-DA6680F3F07F}" dt="2024-09-04T05:49:29.418" v="4822" actId="21"/>
          <ac:spMkLst>
            <pc:docMk/>
            <pc:sldMk cId="3101336136" sldId="2147375607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5:24:57.284" v="4656" actId="20577"/>
          <ac:spMkLst>
            <pc:docMk/>
            <pc:sldMk cId="3101336136" sldId="2147375607"/>
            <ac:spMk id="6" creationId="{AF1DEF1E-47CD-F7EA-05EA-B343CFE2C4BE}"/>
          </ac:spMkLst>
        </pc:spChg>
      </pc:sldChg>
      <pc:sldChg chg="addSp delSp modSp new del mod">
        <pc:chgData name="Hitesh, Hitesh SBOBNG-PTIY/AEC" userId="4b40d14c-6959-4a04-b09b-037994df9ab1" providerId="ADAL" clId="{72CFDB71-B474-4F23-B71C-DA6680F3F07F}" dt="2024-09-04T05:42:48.815" v="4741" actId="47"/>
        <pc:sldMkLst>
          <pc:docMk/>
          <pc:sldMk cId="1238524059" sldId="2147375608"/>
        </pc:sldMkLst>
        <pc:spChg chg="add del mod">
          <ac:chgData name="Hitesh, Hitesh SBOBNG-PTIY/AEC" userId="4b40d14c-6959-4a04-b09b-037994df9ab1" providerId="ADAL" clId="{72CFDB71-B474-4F23-B71C-DA6680F3F07F}" dt="2024-09-04T05:42:41.568" v="4739" actId="22"/>
          <ac:spMkLst>
            <pc:docMk/>
            <pc:sldMk cId="1238524059" sldId="2147375608"/>
            <ac:spMk id="6" creationId="{C8BF2ADA-3CA6-4608-3073-79C32A690470}"/>
          </ac:spMkLst>
        </pc:spChg>
      </pc:sldChg>
      <pc:sldChg chg="addSp modSp add del mod ord">
        <pc:chgData name="Hitesh, Hitesh SBOBNG-PTIY/AEC" userId="4b40d14c-6959-4a04-b09b-037994df9ab1" providerId="ADAL" clId="{72CFDB71-B474-4F23-B71C-DA6680F3F07F}" dt="2024-09-04T06:12:44.118" v="6196" actId="2696"/>
        <pc:sldMkLst>
          <pc:docMk/>
          <pc:sldMk cId="479228673" sldId="2147375609"/>
        </pc:sldMkLst>
        <pc:spChg chg="mod">
          <ac:chgData name="Hitesh, Hitesh SBOBNG-PTIY/AEC" userId="4b40d14c-6959-4a04-b09b-037994df9ab1" providerId="ADAL" clId="{72CFDB71-B474-4F23-B71C-DA6680F3F07F}" dt="2024-09-04T05:45:55.015" v="4799" actId="20577"/>
          <ac:spMkLst>
            <pc:docMk/>
            <pc:sldMk cId="479228673" sldId="2147375609"/>
            <ac:spMk id="2" creationId="{62AEE4DC-6FE4-5FAA-3BF0-9E51B9541760}"/>
          </ac:spMkLst>
        </pc:spChg>
        <pc:spChg chg="add mod">
          <ac:chgData name="Hitesh, Hitesh SBOBNG-PTIY/AEC" userId="4b40d14c-6959-4a04-b09b-037994df9ab1" providerId="ADAL" clId="{72CFDB71-B474-4F23-B71C-DA6680F3F07F}" dt="2024-09-04T05:45:37.846" v="4798" actId="6549"/>
          <ac:spMkLst>
            <pc:docMk/>
            <pc:sldMk cId="479228673" sldId="2147375609"/>
            <ac:spMk id="5" creationId="{6E57615F-0C18-889C-4CFF-06745E2D36B0}"/>
          </ac:spMkLst>
        </pc:spChg>
        <pc:spChg chg="mod">
          <ac:chgData name="Hitesh, Hitesh SBOBNG-PTIY/AEC" userId="4b40d14c-6959-4a04-b09b-037994df9ab1" providerId="ADAL" clId="{72CFDB71-B474-4F23-B71C-DA6680F3F07F}" dt="2024-09-04T05:56:14.169" v="4907" actId="20577"/>
          <ac:spMkLst>
            <pc:docMk/>
            <pc:sldMk cId="479228673" sldId="2147375609"/>
            <ac:spMk id="6" creationId="{AF1DEF1E-47CD-F7EA-05EA-B343CFE2C4BE}"/>
          </ac:spMkLst>
        </pc:spChg>
      </pc:sldChg>
      <pc:sldChg chg="add">
        <pc:chgData name="Hitesh, Hitesh SBOBNG-PTIY/AEC" userId="4b40d14c-6959-4a04-b09b-037994df9ab1" providerId="ADAL" clId="{72CFDB71-B474-4F23-B71C-DA6680F3F07F}" dt="2024-09-04T06:12:52.743" v="6197"/>
        <pc:sldMkLst>
          <pc:docMk/>
          <pc:sldMk cId="4138284177" sldId="2147375609"/>
        </pc:sldMkLst>
      </pc:sldChg>
      <pc:sldChg chg="add del">
        <pc:chgData name="Hitesh, Hitesh SBOBNG-PTIY/AEC" userId="4b40d14c-6959-4a04-b09b-037994df9ab1" providerId="ADAL" clId="{72CFDB71-B474-4F23-B71C-DA6680F3F07F}" dt="2024-09-04T05:43:04.739" v="4743"/>
        <pc:sldMkLst>
          <pc:docMk/>
          <pc:sldMk cId="442697003" sldId="2147375610"/>
        </pc:sldMkLst>
      </pc:sldChg>
      <pc:sldChg chg="new del">
        <pc:chgData name="Hitesh, Hitesh SBOBNG-PTIY/AEC" userId="4b40d14c-6959-4a04-b09b-037994df9ab1" providerId="ADAL" clId="{72CFDB71-B474-4F23-B71C-DA6680F3F07F}" dt="2024-09-04T05:59:51.343" v="4908" actId="47"/>
        <pc:sldMkLst>
          <pc:docMk/>
          <pc:sldMk cId="2920969972" sldId="2147375610"/>
        </pc:sldMkLst>
      </pc:sldChg>
      <pc:sldChg chg="add">
        <pc:chgData name="Hitesh, Hitesh SBOBNG-PTIY/AEC" userId="4b40d14c-6959-4a04-b09b-037994df9ab1" providerId="ADAL" clId="{72CFDB71-B474-4F23-B71C-DA6680F3F07F}" dt="2024-09-04T06:12:52.743" v="6197"/>
        <pc:sldMkLst>
          <pc:docMk/>
          <pc:sldMk cId="496066721" sldId="2147375611"/>
        </pc:sldMkLst>
      </pc:sldChg>
      <pc:sldChg chg="addSp delSp modSp add del mod ord">
        <pc:chgData name="Hitesh, Hitesh SBOBNG-PTIY/AEC" userId="4b40d14c-6959-4a04-b09b-037994df9ab1" providerId="ADAL" clId="{72CFDB71-B474-4F23-B71C-DA6680F3F07F}" dt="2024-09-04T06:12:44.118" v="6196" actId="2696"/>
        <pc:sldMkLst>
          <pc:docMk/>
          <pc:sldMk cId="3832620116" sldId="2147375611"/>
        </pc:sldMkLst>
        <pc:spChg chg="del mod">
          <ac:chgData name="Hitesh, Hitesh SBOBNG-PTIY/AEC" userId="4b40d14c-6959-4a04-b09b-037994df9ab1" providerId="ADAL" clId="{72CFDB71-B474-4F23-B71C-DA6680F3F07F}" dt="2024-09-04T05:53:40.429" v="4896" actId="478"/>
          <ac:spMkLst>
            <pc:docMk/>
            <pc:sldMk cId="3832620116" sldId="2147375611"/>
            <ac:spMk id="2" creationId="{62AEE4DC-6FE4-5FAA-3BF0-9E51B9541760}"/>
          </ac:spMkLst>
        </pc:spChg>
        <pc:spChg chg="del mod">
          <ac:chgData name="Hitesh, Hitesh SBOBNG-PTIY/AEC" userId="4b40d14c-6959-4a04-b09b-037994df9ab1" providerId="ADAL" clId="{72CFDB71-B474-4F23-B71C-DA6680F3F07F}" dt="2024-09-04T05:53:40.429" v="4896" actId="478"/>
          <ac:spMkLst>
            <pc:docMk/>
            <pc:sldMk cId="3832620116" sldId="2147375611"/>
            <ac:spMk id="6" creationId="{AF1DEF1E-47CD-F7EA-05EA-B343CFE2C4BE}"/>
          </ac:spMkLst>
        </pc:spChg>
        <pc:picChg chg="add mod">
          <ac:chgData name="Hitesh, Hitesh SBOBNG-PTIY/AEC" userId="4b40d14c-6959-4a04-b09b-037994df9ab1" providerId="ADAL" clId="{72CFDB71-B474-4F23-B71C-DA6680F3F07F}" dt="2024-09-04T05:54:00.027" v="4899" actId="1076"/>
          <ac:picMkLst>
            <pc:docMk/>
            <pc:sldMk cId="3832620116" sldId="2147375611"/>
            <ac:picMk id="8" creationId="{6837EAA1-EAF8-E085-180E-A7A2DC49B947}"/>
          </ac:picMkLst>
        </pc:picChg>
      </pc:sldChg>
      <pc:sldChg chg="add del">
        <pc:chgData name="Hitesh, Hitesh SBOBNG-PTIY/AEC" userId="4b40d14c-6959-4a04-b09b-037994df9ab1" providerId="ADAL" clId="{72CFDB71-B474-4F23-B71C-DA6680F3F07F}" dt="2024-09-04T05:53:14.325" v="4890"/>
        <pc:sldMkLst>
          <pc:docMk/>
          <pc:sldMk cId="506914407" sldId="2147375612"/>
        </pc:sldMkLst>
      </pc:sldChg>
      <pc:sldChg chg="modSp add mod ord">
        <pc:chgData name="Hitesh, Hitesh SBOBNG-PTIY/AEC" userId="4b40d14c-6959-4a04-b09b-037994df9ab1" providerId="ADAL" clId="{72CFDB71-B474-4F23-B71C-DA6680F3F07F}" dt="2024-09-04T06:12:12.212" v="6193" actId="20577"/>
        <pc:sldMkLst>
          <pc:docMk/>
          <pc:sldMk cId="3277868491" sldId="2147375612"/>
        </pc:sldMkLst>
        <pc:spChg chg="mod">
          <ac:chgData name="Hitesh, Hitesh SBOBNG-PTIY/AEC" userId="4b40d14c-6959-4a04-b09b-037994df9ab1" providerId="ADAL" clId="{72CFDB71-B474-4F23-B71C-DA6680F3F07F}" dt="2024-09-04T06:11:25.583" v="6192" actId="14"/>
          <ac:spMkLst>
            <pc:docMk/>
            <pc:sldMk cId="3277868491" sldId="2147375612"/>
            <ac:spMk id="2" creationId="{62AEE4DC-6FE4-5FAA-3BF0-9E51B9541760}"/>
          </ac:spMkLst>
        </pc:spChg>
        <pc:spChg chg="mod">
          <ac:chgData name="Hitesh, Hitesh SBOBNG-PTIY/AEC" userId="4b40d14c-6959-4a04-b09b-037994df9ab1" providerId="ADAL" clId="{72CFDB71-B474-4F23-B71C-DA6680F3F07F}" dt="2024-09-04T06:12:12.212" v="6193" actId="20577"/>
          <ac:spMkLst>
            <pc:docMk/>
            <pc:sldMk cId="3277868491" sldId="2147375612"/>
            <ac:spMk id="6" creationId="{AF1DEF1E-47CD-F7EA-05EA-B343CFE2C4BE}"/>
          </ac:spMkLst>
        </pc:spChg>
      </pc:sldChg>
      <pc:sldChg chg="new del">
        <pc:chgData name="Hitesh, Hitesh SBOBNG-PTIY/AEC" userId="4b40d14c-6959-4a04-b09b-037994df9ab1" providerId="ADAL" clId="{72CFDB71-B474-4F23-B71C-DA6680F3F07F}" dt="2024-09-05T03:47:56.740" v="6262" actId="47"/>
        <pc:sldMkLst>
          <pc:docMk/>
          <pc:sldMk cId="2638174093" sldId="214737561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5 (04-Sep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6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numCol="3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Count the number of book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CDCA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U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endParaRPr lang="en-US" sz="1000" kern="0" dirty="0">
              <a:solidFill>
                <a:srgbClr val="6A9955"/>
              </a:solidFill>
              <a:effectLst/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Describe the Books table (PostgreSQL specific)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\d Books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Join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Inner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NER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NER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Left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FT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FT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Right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GHT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GHT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Full Outer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LL OUTER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LL OUTER 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Self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1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2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.Join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A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B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A.Joi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.Joi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</a:t>
            </a:r>
            <a:r>
              <a:rPr lang="en-US" sz="1000" kern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Equi</a:t>
            </a: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Natural Join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Tit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rrow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.MemberID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.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626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7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37EAA1-EAF8-E085-180E-A7A2DC49B9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6509" y="1463040"/>
            <a:ext cx="8214360" cy="4620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0667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Aptos" panose="020B0004020202020204" pitchFamily="34" charset="0"/>
              </a:rPr>
              <a:t>DBMS (Database Management System)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efinition: </a:t>
            </a:r>
            <a:r>
              <a:rPr lang="en-US" sz="1400" dirty="0">
                <a:latin typeface="Aptos" panose="020B0004020202020204" pitchFamily="34" charset="0"/>
              </a:rPr>
              <a:t>Software that manages and controls databases, enabling data storage, retrieval, and manipulation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Functions:</a:t>
            </a:r>
            <a:r>
              <a:rPr lang="en-US" sz="1400" dirty="0">
                <a:latin typeface="Aptos" panose="020B0004020202020204" pitchFamily="34" charset="0"/>
              </a:rPr>
              <a:t> Supports data organization, ensures data integrity, and handles transactions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Examples: </a:t>
            </a:r>
            <a:r>
              <a:rPr lang="en-US" sz="1400" dirty="0">
                <a:latin typeface="Aptos" panose="020B0004020202020204" pitchFamily="34" charset="0"/>
              </a:rPr>
              <a:t>MySQL, Oracle, PostgreSQL, Microsoft SQL Server.</a:t>
            </a:r>
          </a:p>
          <a:p>
            <a:r>
              <a:rPr lang="en-US" sz="1400" b="1" dirty="0">
                <a:latin typeface="Aptos" panose="020B0004020202020204" pitchFamily="34" charset="0"/>
              </a:rPr>
              <a:t>Types of Databases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RDBMS (Relational Database Management System)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Organizes data into tables with rows and columns. Uses SQL for querying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MySQL, PostgreSQL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istributed Database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Data is stored across multiple physical locations. Ensures high availability and reliability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Google Spanner, Cassandra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ata Warehouse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Central repository for integrated data from various sources, optimized for querying and analysis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Amazon Redshift, Snowflak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NoSQL Database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Designed for unstructured data and supports a variety of data models like document, key-value, graph, etc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MongoDB, Couchbas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Graph Database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Uses graph structures with nodes, edges, and properties to represent and store data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Neo4j, Amazon Neptun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Online Transaction Processing (OLTP) Database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Manages transactional data, typically for real-time applications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PostgreSQL, MySQL.</a:t>
            </a:r>
          </a:p>
        </p:txBody>
      </p:sp>
    </p:spTree>
    <p:extLst>
      <p:ext uri="{BB962C8B-B14F-4D97-AF65-F5344CB8AC3E}">
        <p14:creationId xmlns:p14="http://schemas.microsoft.com/office/powerpoint/2010/main" val="3283208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1028" name="Picture 4" descr="Different Types of DBMS (Database Management Systems)">
            <a:extLst>
              <a:ext uri="{FF2B5EF4-FFF2-40B4-BE49-F238E27FC236}">
                <a16:creationId xmlns:a16="http://schemas.microsoft.com/office/drawing/2014/main" id="{CA275794-BAC5-AD19-7B31-99696328A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439" y="1408795"/>
            <a:ext cx="85725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867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Aptos" panose="020B0004020202020204" pitchFamily="34" charset="0"/>
              </a:rPr>
              <a:t>Data Operations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ata </a:t>
            </a:r>
            <a:r>
              <a:rPr lang="en-US" sz="1400" b="1" dirty="0" err="1">
                <a:latin typeface="Aptos" panose="020B0004020202020204" pitchFamily="34" charset="0"/>
              </a:rPr>
              <a:t>Updation</a:t>
            </a:r>
            <a:r>
              <a:rPr lang="en-US" sz="1400" b="1" dirty="0">
                <a:latin typeface="Aptos" panose="020B0004020202020204" pitchFamily="34" charset="0"/>
              </a:rPr>
              <a:t>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Updating values in rows and columns within a database tabl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ata Retrieval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tracting data using SQL queries.</a:t>
            </a: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Example: SELECT * FROM </a:t>
            </a:r>
            <a:r>
              <a:rPr lang="en-US" sz="1400" dirty="0" err="1">
                <a:latin typeface="Aptos" panose="020B0004020202020204" pitchFamily="34" charset="0"/>
              </a:rPr>
              <a:t>table_name</a:t>
            </a:r>
            <a:r>
              <a:rPr lang="en-US" sz="1400" dirty="0">
                <a:latin typeface="Aptos" panose="020B0004020202020204" pitchFamily="34" charset="0"/>
              </a:rPr>
              <a:t>;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PostgreSQL and JSON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dirty="0">
                <a:latin typeface="Aptos" panose="020B0004020202020204" pitchFamily="34" charset="0"/>
              </a:rPr>
              <a:t>PostgreSQL supports storing and querying JSON data, allowing for flexible data modeling.</a:t>
            </a:r>
          </a:p>
          <a:p>
            <a:r>
              <a:rPr lang="en-US" sz="1400" b="1" dirty="0">
                <a:latin typeface="Aptos" panose="020B0004020202020204" pitchFamily="34" charset="0"/>
              </a:rPr>
              <a:t>SQL vs. PostgreSQL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SQL:</a:t>
            </a:r>
            <a:r>
              <a:rPr lang="en-US" sz="1400" dirty="0">
                <a:latin typeface="Aptos" panose="020B0004020202020204" pitchFamily="34" charset="0"/>
              </a:rPr>
              <a:t> A standard language for querying databases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PostgreSQL:</a:t>
            </a:r>
            <a:r>
              <a:rPr lang="en-US" sz="1400" dirty="0">
                <a:latin typeface="Aptos" panose="020B0004020202020204" pitchFamily="34" charset="0"/>
              </a:rPr>
              <a:t> An advanced RDBMS that uses SQL, with additional features like JSON support.</a:t>
            </a:r>
          </a:p>
          <a:p>
            <a:r>
              <a:rPr lang="en-US" sz="1400" b="1" dirty="0">
                <a:latin typeface="Aptos" panose="020B0004020202020204" pitchFamily="34" charset="0"/>
              </a:rPr>
              <a:t>Types of SQL Operations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DL (Data Definition Language)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CREATE:</a:t>
            </a:r>
            <a:r>
              <a:rPr lang="en-US" sz="1400" dirty="0">
                <a:latin typeface="Aptos" panose="020B0004020202020204" pitchFamily="34" charset="0"/>
              </a:rPr>
              <a:t> Creates a new table or databas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ALTER:</a:t>
            </a:r>
            <a:r>
              <a:rPr lang="en-US" sz="1400" dirty="0">
                <a:latin typeface="Aptos" panose="020B0004020202020204" pitchFamily="34" charset="0"/>
              </a:rPr>
              <a:t> Modifies an existing table structur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DROP:</a:t>
            </a:r>
            <a:r>
              <a:rPr lang="en-US" sz="1400" dirty="0">
                <a:latin typeface="Aptos" panose="020B0004020202020204" pitchFamily="34" charset="0"/>
              </a:rPr>
              <a:t> Deletes a table or databas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TRUNCATE:</a:t>
            </a:r>
            <a:r>
              <a:rPr lang="en-US" sz="1400" dirty="0">
                <a:latin typeface="Aptos" panose="020B0004020202020204" pitchFamily="34" charset="0"/>
              </a:rPr>
              <a:t> Removes all records from a table, but not the table itself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RENAME:</a:t>
            </a:r>
            <a:r>
              <a:rPr lang="en-US" sz="1400" dirty="0">
                <a:latin typeface="Aptos" panose="020B0004020202020204" pitchFamily="34" charset="0"/>
              </a:rPr>
              <a:t> Renames an existing tabl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ML (Data Manipulation Language)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SELECT:</a:t>
            </a:r>
            <a:r>
              <a:rPr lang="en-US" sz="1400" dirty="0">
                <a:latin typeface="Aptos" panose="020B0004020202020204" pitchFamily="34" charset="0"/>
              </a:rPr>
              <a:t> Retrieves data from a databas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INSERT:</a:t>
            </a:r>
            <a:r>
              <a:rPr lang="en-US" sz="1400" dirty="0">
                <a:latin typeface="Aptos" panose="020B0004020202020204" pitchFamily="34" charset="0"/>
              </a:rPr>
              <a:t> Adds new records to a tabl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UPDATE:</a:t>
            </a:r>
            <a:r>
              <a:rPr lang="en-US" sz="1400" dirty="0">
                <a:latin typeface="Aptos" panose="020B0004020202020204" pitchFamily="34" charset="0"/>
              </a:rPr>
              <a:t> Modifies existing records in a table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DELETE:</a:t>
            </a:r>
            <a:r>
              <a:rPr lang="en-US" sz="1400" dirty="0">
                <a:latin typeface="Aptos" panose="020B0004020202020204" pitchFamily="34" charset="0"/>
              </a:rPr>
              <a:t> Removes records from a table.</a:t>
            </a:r>
          </a:p>
          <a:p>
            <a:pPr lvl="1"/>
            <a:r>
              <a:rPr lang="en-US" sz="1400" b="1" dirty="0">
                <a:latin typeface="Aptos" panose="020B0004020202020204" pitchFamily="34" charset="0"/>
              </a:rPr>
              <a:t>DCL (Data Control Language):</a:t>
            </a:r>
            <a:endParaRPr lang="en-US" sz="1400" dirty="0">
              <a:latin typeface="Aptos" panose="020B0004020202020204" pitchFamily="34" charset="0"/>
            </a:endParaRP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GRANT:</a:t>
            </a:r>
            <a:r>
              <a:rPr lang="en-US" sz="1400" dirty="0">
                <a:latin typeface="Aptos" panose="020B0004020202020204" pitchFamily="34" charset="0"/>
              </a:rPr>
              <a:t> Provides privileges to users.</a:t>
            </a:r>
          </a:p>
          <a:p>
            <a:pPr lvl="2"/>
            <a:r>
              <a:rPr lang="en-US" sz="1400" b="1" dirty="0">
                <a:latin typeface="Aptos" panose="020B0004020202020204" pitchFamily="34" charset="0"/>
              </a:rPr>
              <a:t>REVOKE:</a:t>
            </a:r>
            <a:r>
              <a:rPr lang="en-US" sz="1400" dirty="0">
                <a:latin typeface="Aptos" panose="020B0004020202020204" pitchFamily="34" charset="0"/>
              </a:rPr>
              <a:t> Removes privileges from users.</a:t>
            </a:r>
          </a:p>
          <a:p>
            <a:pPr lvl="1"/>
            <a:endParaRPr lang="en-US" sz="1400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80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QL (Data Query Language)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LECT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trieves data from one or more tables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OUP BY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Groups rows sharing a property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DER BY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orts result sets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ERE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ilters records based on conditions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VING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ilters groups based on aggregate conditions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CL (Transaction Control Language):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MIT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aves changes made in a transaction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OLLBACK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verts changes made in a transaction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VEPOINT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ts a point within a transaction to which you can rollback.</a:t>
            </a:r>
          </a:p>
          <a:p>
            <a:pPr lvl="2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T TRANSACTIO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ets the characteristics for the current transaction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9144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G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tarts a transaction.</a:t>
            </a:r>
          </a:p>
          <a:p>
            <a:pPr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Joins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ner Jo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turns records with matching values in both tables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uter Join (Left, Right, Full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turns all records from one or both tables, including those without a match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lf-Jo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Joins a table to itself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qui</a:t>
            </a: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Jo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Uses the equality operator to join tables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ross Jo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Returns the Cartesian product of two tables.</a:t>
            </a:r>
          </a:p>
          <a:p>
            <a:pPr lvl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atural Join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utomatically joins tables based on columns with the same name. </a:t>
            </a:r>
          </a:p>
        </p:txBody>
      </p:sp>
    </p:spTree>
    <p:extLst>
      <p:ext uri="{BB962C8B-B14F-4D97-AF65-F5344CB8AC3E}">
        <p14:creationId xmlns:p14="http://schemas.microsoft.com/office/powerpoint/2010/main" val="3719415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2050" name="Picture 2" descr="Introduction of SQL JOINS. In the world of relational databases… | by  Techie-stronaut | Medium">
            <a:extLst>
              <a:ext uri="{FF2B5EF4-FFF2-40B4-BE49-F238E27FC236}">
                <a16:creationId xmlns:a16="http://schemas.microsoft.com/office/drawing/2014/main" id="{FADF27ED-D43A-B236-4BFD-13D8CF32A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515" y="1410161"/>
            <a:ext cx="6216347" cy="4759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824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ys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imary Key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unique identifier for each record in a table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condary Key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on-primary key used for additional indexing and retrieval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ormalization</a:t>
            </a:r>
            <a:endParaRPr lang="en-US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NF (First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sures atomicity by handling multi-valued columns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NF (Second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sures no partial dependencies, where non-prime attributes depend only on the entire candidate key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NF (Third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sures no transitive dependencies and maintains referential integrity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CNF (Boyce-Codd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ddresses anomalies not covered by 3NF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4NF (Fourth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sures no multi-valued dependencies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5NF (Fifth Normal Form):</a:t>
            </a:r>
            <a:r>
              <a:rPr lang="en-US" sz="14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nsures no join dependencies and prevents data redundancy.</a:t>
            </a:r>
          </a:p>
          <a:p>
            <a:pPr lvl="1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041286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ln/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numCol="3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SQL SCRIPT</a:t>
            </a: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endParaRPr lang="en-US" sz="1000" kern="0" dirty="0">
              <a:solidFill>
                <a:srgbClr val="6A9955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Create a table for book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B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CDCA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MARY KEY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Title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CH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Author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CH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shedYe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Create a table for member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B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CDCA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MARY KEY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CH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Create a table for borrowing 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BL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cord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MARY KEY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IGN KEY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  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IGN KEY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Insert sample data into Book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 INTO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 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Title, Author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shedYe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1984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George Orwell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49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To Kill a Mockingbird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Harper Lee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60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The Great Gatsby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. Scott Fitzgerald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5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Insert sample data into Member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 INTO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 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lice Johnson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1-15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b Smith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2-20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Charlie Brown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3-10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Insert sample data into </a:t>
            </a:r>
            <a:r>
              <a:rPr lang="en-US" sz="1000" kern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 INTO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ingRecords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cord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ber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rrow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turn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01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15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05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20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10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25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Update a record in the Books tabl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UPDAT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shedYe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00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ER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okID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B5CEA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Select all records from the Books table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Find the minimum </a:t>
            </a:r>
            <a:r>
              <a:rPr lang="en-US" sz="1000" kern="0" dirty="0" err="1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shedYear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CDCAA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000" kern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blishedYear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6A9955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Find members with names starting with 'Bob'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D4D4D4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OM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embers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Bef>
                <a:spcPts val="0"/>
              </a:spcBef>
              <a:buNone/>
            </a:pP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ER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569CD6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IKE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000" kern="0" dirty="0">
                <a:solidFill>
                  <a:srgbClr val="CE9178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b%'</a:t>
            </a:r>
            <a:r>
              <a:rPr lang="en-US" sz="1000" kern="0" dirty="0">
                <a:solidFill>
                  <a:srgbClr val="CCCCCC"/>
                </a:solidFill>
                <a:effectLst/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866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dcmitype/"/>
    <ds:schemaRef ds:uri="http://purl.org/dc/elements/1.1/"/>
    <ds:schemaRef ds:uri="d64320fb-f9a3-4131-8206-9d18da17abe9"/>
    <ds:schemaRef ds:uri="http://schemas.microsoft.com/office/2006/documentManagement/types"/>
    <ds:schemaRef ds:uri="http://schemas.openxmlformats.org/package/2006/metadata/core-properties"/>
    <ds:schemaRef ds:uri="489eda54-cdc8-4a48-94a2-8f9cf8024289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14</TotalTime>
  <Words>1432</Words>
  <Application>Microsoft Office PowerPoint</Application>
  <PresentationFormat>Widescreen</PresentationFormat>
  <Paragraphs>208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ptos</vt:lpstr>
      <vt:lpstr>Arial</vt:lpstr>
      <vt:lpstr>Calibri</vt:lpstr>
      <vt:lpstr>Consolas</vt:lpstr>
      <vt:lpstr>Symbol</vt:lpstr>
      <vt:lpstr>Office Theme</vt:lpstr>
      <vt:lpstr>think-cell Slide</vt:lpstr>
      <vt:lpstr>PowerPoint Presentation</vt:lpstr>
      <vt:lpstr>PowerPoint Presentation</vt:lpstr>
      <vt:lpstr>Learning 1 | My takeaways</vt:lpstr>
      <vt:lpstr>Learning 1 | My takeaways</vt:lpstr>
      <vt:lpstr>Learning 2 | My takeaways</vt:lpstr>
      <vt:lpstr>Learning 3 | My takeaways</vt:lpstr>
      <vt:lpstr>Learning 3 | My takeaways</vt:lpstr>
      <vt:lpstr>Learning 4 | My takeaways</vt:lpstr>
      <vt:lpstr>Learning 5 | My takeaways</vt:lpstr>
      <vt:lpstr>Learning 6 | My takeaways</vt:lpstr>
      <vt:lpstr>Learning 7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26</cp:revision>
  <dcterms:created xsi:type="dcterms:W3CDTF">2022-01-18T12:35:56Z</dcterms:created>
  <dcterms:modified xsi:type="dcterms:W3CDTF">2024-09-06T14:4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